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1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E1DE1-0AE2-92C3-95F7-5156E685F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B474C144-01E6-753C-16FD-49A0BA7B18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74C144-01E6-753C-16FD-49A0BA7B1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98385A-E3F5-4B5A-DAEE-599C0458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63A4D15-77A8-6596-368F-DB33D3015B80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9B02CD-1763-F196-1153-A87AAF4DE171}"/>
              </a:ext>
            </a:extLst>
          </p:cNvPr>
          <p:cNvSpPr txBox="1">
            <a:spLocks/>
          </p:cNvSpPr>
          <p:nvPr/>
        </p:nvSpPr>
        <p:spPr>
          <a:xfrm>
            <a:off x="690925" y="182445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 anchor="ctr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4D2FF4-359D-B74E-CC4D-A0AFA9DFEAD8}"/>
              </a:ext>
            </a:extLst>
          </p:cNvPr>
          <p:cNvSpPr txBox="1">
            <a:spLocks/>
          </p:cNvSpPr>
          <p:nvPr/>
        </p:nvSpPr>
        <p:spPr>
          <a:xfrm>
            <a:off x="3191120" y="1778310"/>
            <a:ext cx="1513212" cy="424667"/>
          </a:xfrm>
          <a:prstGeom prst="rect">
            <a:avLst/>
          </a:prstGeom>
          <a:noFill/>
        </p:spPr>
        <p:txBody>
          <a:bodyPr vert="horz" wrap="none" lIns="54848" tIns="27424" rIns="54848" bIns="27424" rtlCol="0" anchor="ctr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1"/>
                </a:solidFill>
              </a:rPr>
              <a:t>Title</a:t>
            </a: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015588-3E01-270A-56C2-39157BABE540}"/>
              </a:ext>
            </a:extLst>
          </p:cNvPr>
          <p:cNvSpPr/>
          <p:nvPr/>
        </p:nvSpPr>
        <p:spPr>
          <a:xfrm rot="2700000">
            <a:off x="4981954" y="1419764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E0CDEF27-7D73-0EC7-EB70-980F949A1638}"/>
              </a:ext>
            </a:extLst>
          </p:cNvPr>
          <p:cNvSpPr/>
          <p:nvPr/>
        </p:nvSpPr>
        <p:spPr>
          <a:xfrm rot="2700000">
            <a:off x="5139278" y="1577090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970413-40A8-BBEB-D09C-7EBB103028B6}"/>
              </a:ext>
            </a:extLst>
          </p:cNvPr>
          <p:cNvCxnSpPr>
            <a:cxnSpLocks/>
          </p:cNvCxnSpPr>
          <p:nvPr/>
        </p:nvCxnSpPr>
        <p:spPr>
          <a:xfrm flipH="1">
            <a:off x="-9524" y="2719035"/>
            <a:ext cx="553203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6B54105-977B-76F4-205E-B3FE7BB471B7}"/>
              </a:ext>
            </a:extLst>
          </p:cNvPr>
          <p:cNvCxnSpPr>
            <a:cxnSpLocks/>
          </p:cNvCxnSpPr>
          <p:nvPr/>
        </p:nvCxnSpPr>
        <p:spPr>
          <a:xfrm flipH="1">
            <a:off x="1" y="4984731"/>
            <a:ext cx="5532034" cy="305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18">
            <a:extLst>
              <a:ext uri="{FF2B5EF4-FFF2-40B4-BE49-F238E27FC236}">
                <a16:creationId xmlns:a16="http://schemas.microsoft.com/office/drawing/2014/main" id="{60E6F7E0-9FF6-257F-B919-FD92419DA35F}"/>
              </a:ext>
            </a:extLst>
          </p:cNvPr>
          <p:cNvSpPr/>
          <p:nvPr/>
        </p:nvSpPr>
        <p:spPr>
          <a:xfrm rot="2700000">
            <a:off x="4981954" y="3701856"/>
            <a:ext cx="1141755" cy="1141760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4F378FED-DB4E-7B0B-D0F2-5337BD03CAD8}"/>
              </a:ext>
            </a:extLst>
          </p:cNvPr>
          <p:cNvSpPr/>
          <p:nvPr/>
        </p:nvSpPr>
        <p:spPr>
          <a:xfrm rot="2700000">
            <a:off x="5139278" y="3859182"/>
            <a:ext cx="827101" cy="827106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E1DFAC-DBB7-9B8B-D34D-AC08B7E416BE}"/>
              </a:ext>
            </a:extLst>
          </p:cNvPr>
          <p:cNvSpPr txBox="1">
            <a:spLocks/>
          </p:cNvSpPr>
          <p:nvPr/>
        </p:nvSpPr>
        <p:spPr>
          <a:xfrm>
            <a:off x="3191120" y="4083461"/>
            <a:ext cx="1513212" cy="378549"/>
          </a:xfrm>
          <a:prstGeom prst="rect">
            <a:avLst/>
          </a:prstGeom>
          <a:noFill/>
        </p:spPr>
        <p:txBody>
          <a:bodyPr vert="horz" wrap="squar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4"/>
                </a:solidFill>
              </a:rPr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4BB893-AA22-5B8B-0A32-C4B03B5043E9}"/>
              </a:ext>
            </a:extLst>
          </p:cNvPr>
          <p:cNvSpPr txBox="1">
            <a:spLocks/>
          </p:cNvSpPr>
          <p:nvPr/>
        </p:nvSpPr>
        <p:spPr>
          <a:xfrm>
            <a:off x="690925" y="4083461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BBFAAD-B8D3-6CAE-72C1-4C51DE425C97}"/>
              </a:ext>
            </a:extLst>
          </p:cNvPr>
          <p:cNvSpPr/>
          <p:nvPr/>
        </p:nvSpPr>
        <p:spPr>
          <a:xfrm rot="2724070">
            <a:off x="5874284" y="2405392"/>
            <a:ext cx="477109" cy="2814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7" name="Freeform 166">
            <a:extLst>
              <a:ext uri="{FF2B5EF4-FFF2-40B4-BE49-F238E27FC236}">
                <a16:creationId xmlns:a16="http://schemas.microsoft.com/office/drawing/2014/main" id="{746B1955-B7C3-573B-414E-FF2E2FC4E69F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232448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8F585D2-B4E8-5E4E-3916-BACB4F7AD9A0}"/>
              </a:ext>
            </a:extLst>
          </p:cNvPr>
          <p:cNvSpPr/>
          <p:nvPr/>
        </p:nvSpPr>
        <p:spPr>
          <a:xfrm rot="2724070">
            <a:off x="5874284" y="4687482"/>
            <a:ext cx="477109" cy="2814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19" name="Freeform 166">
            <a:extLst>
              <a:ext uri="{FF2B5EF4-FFF2-40B4-BE49-F238E27FC236}">
                <a16:creationId xmlns:a16="http://schemas.microsoft.com/office/drawing/2014/main" id="{D43BEFBC-9A10-B3DA-4D85-24B75D7D5F14}"/>
              </a:ext>
            </a:extLst>
          </p:cNvPr>
          <p:cNvSpPr>
            <a:spLocks/>
          </p:cNvSpPr>
          <p:nvPr/>
        </p:nvSpPr>
        <p:spPr bwMode="auto">
          <a:xfrm rot="13684439">
            <a:off x="5962079" y="4609544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F829D-5AD0-EBBA-3B85-850BC5488E53}"/>
              </a:ext>
            </a:extLst>
          </p:cNvPr>
          <p:cNvSpPr/>
          <p:nvPr/>
        </p:nvSpPr>
        <p:spPr>
          <a:xfrm rot="8124070">
            <a:off x="5845130" y="3536279"/>
            <a:ext cx="477110" cy="2814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1" name="Freeform 166">
            <a:extLst>
              <a:ext uri="{FF2B5EF4-FFF2-40B4-BE49-F238E27FC236}">
                <a16:creationId xmlns:a16="http://schemas.microsoft.com/office/drawing/2014/main" id="{80BCCC04-7379-1679-FE0F-665FD222AB17}"/>
              </a:ext>
            </a:extLst>
          </p:cNvPr>
          <p:cNvSpPr>
            <a:spLocks/>
          </p:cNvSpPr>
          <p:nvPr/>
        </p:nvSpPr>
        <p:spPr bwMode="auto">
          <a:xfrm rot="7915561" flipH="1">
            <a:off x="5943032" y="3478816"/>
            <a:ext cx="256501" cy="428779"/>
          </a:xfrm>
          <a:custGeom>
            <a:avLst/>
            <a:gdLst>
              <a:gd name="T0" fmla="*/ 71 w 99"/>
              <a:gd name="T1" fmla="*/ 7 h 166"/>
              <a:gd name="T2" fmla="*/ 5 w 99"/>
              <a:gd name="T3" fmla="*/ 73 h 166"/>
              <a:gd name="T4" fmla="*/ 5 w 99"/>
              <a:gd name="T5" fmla="*/ 93 h 166"/>
              <a:gd name="T6" fmla="*/ 71 w 99"/>
              <a:gd name="T7" fmla="*/ 159 h 166"/>
              <a:gd name="T8" fmla="*/ 91 w 99"/>
              <a:gd name="T9" fmla="*/ 160 h 166"/>
              <a:gd name="T10" fmla="*/ 93 w 99"/>
              <a:gd name="T11" fmla="*/ 158 h 166"/>
              <a:gd name="T12" fmla="*/ 94 w 99"/>
              <a:gd name="T13" fmla="*/ 142 h 166"/>
              <a:gd name="T14" fmla="*/ 45 w 99"/>
              <a:gd name="T15" fmla="*/ 93 h 166"/>
              <a:gd name="T16" fmla="*/ 45 w 99"/>
              <a:gd name="T17" fmla="*/ 73 h 166"/>
              <a:gd name="T18" fmla="*/ 94 w 99"/>
              <a:gd name="T19" fmla="*/ 25 h 166"/>
              <a:gd name="T20" fmla="*/ 93 w 99"/>
              <a:gd name="T21" fmla="*/ 8 h 166"/>
              <a:gd name="T22" fmla="*/ 91 w 99"/>
              <a:gd name="T23" fmla="*/ 6 h 166"/>
              <a:gd name="T24" fmla="*/ 71 w 99"/>
              <a:gd name="T25" fmla="*/ 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166">
                <a:moveTo>
                  <a:pt x="71" y="7"/>
                </a:moveTo>
                <a:cubicBezTo>
                  <a:pt x="5" y="73"/>
                  <a:pt x="5" y="73"/>
                  <a:pt x="5" y="73"/>
                </a:cubicBezTo>
                <a:cubicBezTo>
                  <a:pt x="0" y="79"/>
                  <a:pt x="0" y="88"/>
                  <a:pt x="5" y="93"/>
                </a:cubicBezTo>
                <a:cubicBezTo>
                  <a:pt x="71" y="159"/>
                  <a:pt x="71" y="159"/>
                  <a:pt x="71" y="159"/>
                </a:cubicBezTo>
                <a:cubicBezTo>
                  <a:pt x="77" y="165"/>
                  <a:pt x="85" y="166"/>
                  <a:pt x="91" y="160"/>
                </a:cubicBezTo>
                <a:cubicBezTo>
                  <a:pt x="93" y="158"/>
                  <a:pt x="93" y="158"/>
                  <a:pt x="93" y="158"/>
                </a:cubicBezTo>
                <a:cubicBezTo>
                  <a:pt x="98" y="152"/>
                  <a:pt x="99" y="146"/>
                  <a:pt x="94" y="142"/>
                </a:cubicBezTo>
                <a:cubicBezTo>
                  <a:pt x="78" y="126"/>
                  <a:pt x="62" y="109"/>
                  <a:pt x="45" y="93"/>
                </a:cubicBezTo>
                <a:cubicBezTo>
                  <a:pt x="40" y="88"/>
                  <a:pt x="40" y="79"/>
                  <a:pt x="45" y="73"/>
                </a:cubicBezTo>
                <a:cubicBezTo>
                  <a:pt x="62" y="57"/>
                  <a:pt x="78" y="41"/>
                  <a:pt x="94" y="25"/>
                </a:cubicBezTo>
                <a:cubicBezTo>
                  <a:pt x="99" y="20"/>
                  <a:pt x="98" y="14"/>
                  <a:pt x="93" y="8"/>
                </a:cubicBezTo>
                <a:cubicBezTo>
                  <a:pt x="91" y="6"/>
                  <a:pt x="91" y="6"/>
                  <a:pt x="91" y="6"/>
                </a:cubicBezTo>
                <a:cubicBezTo>
                  <a:pt x="85" y="0"/>
                  <a:pt x="77" y="1"/>
                  <a:pt x="71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GB" sz="7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69AB1D-787F-4119-8EC4-41C6746DD597}"/>
              </a:ext>
            </a:extLst>
          </p:cNvPr>
          <p:cNvCxnSpPr>
            <a:cxnSpLocks/>
          </p:cNvCxnSpPr>
          <p:nvPr/>
        </p:nvCxnSpPr>
        <p:spPr>
          <a:xfrm flipH="1">
            <a:off x="6659966" y="3832926"/>
            <a:ext cx="553203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DF28583-4228-A454-2715-7D468E082FFE}"/>
              </a:ext>
            </a:extLst>
          </p:cNvPr>
          <p:cNvSpPr txBox="1">
            <a:spLocks/>
          </p:cNvSpPr>
          <p:nvPr/>
        </p:nvSpPr>
        <p:spPr>
          <a:xfrm>
            <a:off x="7452593" y="2927756"/>
            <a:ext cx="1513212" cy="378507"/>
          </a:xfrm>
          <a:prstGeom prst="rect">
            <a:avLst/>
          </a:prstGeom>
          <a:noFill/>
        </p:spPr>
        <p:txBody>
          <a:bodyPr vert="horz" wrap="none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2"/>
                </a:solidFill>
              </a:rPr>
              <a:t>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96F080-E56A-A4C2-2282-86803551DC99}"/>
              </a:ext>
            </a:extLst>
          </p:cNvPr>
          <p:cNvSpPr txBox="1">
            <a:spLocks/>
          </p:cNvSpPr>
          <p:nvPr/>
        </p:nvSpPr>
        <p:spPr>
          <a:xfrm>
            <a:off x="9275697" y="2927735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25" name="Freeform 14">
            <a:extLst>
              <a:ext uri="{FF2B5EF4-FFF2-40B4-BE49-F238E27FC236}">
                <a16:creationId xmlns:a16="http://schemas.microsoft.com/office/drawing/2014/main" id="{2D005962-BCB8-26C6-4520-810E948955CB}"/>
              </a:ext>
            </a:extLst>
          </p:cNvPr>
          <p:cNvSpPr/>
          <p:nvPr/>
        </p:nvSpPr>
        <p:spPr>
          <a:xfrm rot="8100000">
            <a:off x="6068292" y="2546130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611F4B4A-CD35-E5B7-AD92-3A2682DA742B}"/>
              </a:ext>
            </a:extLst>
          </p:cNvPr>
          <p:cNvSpPr/>
          <p:nvPr/>
        </p:nvSpPr>
        <p:spPr>
          <a:xfrm rot="8100000">
            <a:off x="6225621" y="2703454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7" name="Freeform 22">
            <a:extLst>
              <a:ext uri="{FF2B5EF4-FFF2-40B4-BE49-F238E27FC236}">
                <a16:creationId xmlns:a16="http://schemas.microsoft.com/office/drawing/2014/main" id="{C48A811D-8892-602C-5DEA-11B597BC55DE}"/>
              </a:ext>
            </a:extLst>
          </p:cNvPr>
          <p:cNvSpPr/>
          <p:nvPr/>
        </p:nvSpPr>
        <p:spPr>
          <a:xfrm rot="8100000">
            <a:off x="6068292" y="4828221"/>
            <a:ext cx="1141757" cy="1141758"/>
          </a:xfrm>
          <a:custGeom>
            <a:avLst/>
            <a:gdLst>
              <a:gd name="connsiteX0" fmla="*/ 59274 w 1214203"/>
              <a:gd name="connsiteY0" fmla="*/ 59274 h 1214204"/>
              <a:gd name="connsiteX1" fmla="*/ 202371 w 1214203"/>
              <a:gd name="connsiteY1" fmla="*/ 0 h 1214204"/>
              <a:gd name="connsiteX2" fmla="*/ 1011832 w 1214203"/>
              <a:gd name="connsiteY2" fmla="*/ 1 h 1214204"/>
              <a:gd name="connsiteX3" fmla="*/ 1214203 w 1214203"/>
              <a:gd name="connsiteY3" fmla="*/ 202372 h 1214204"/>
              <a:gd name="connsiteX4" fmla="*/ 1214203 w 1214203"/>
              <a:gd name="connsiteY4" fmla="*/ 1011833 h 1214204"/>
              <a:gd name="connsiteX5" fmla="*/ 1011832 w 1214203"/>
              <a:gd name="connsiteY5" fmla="*/ 1214204 h 1214204"/>
              <a:gd name="connsiteX6" fmla="*/ 202371 w 1214203"/>
              <a:gd name="connsiteY6" fmla="*/ 1214204 h 1214204"/>
              <a:gd name="connsiteX7" fmla="*/ 0 w 1214203"/>
              <a:gd name="connsiteY7" fmla="*/ 1011833 h 1214204"/>
              <a:gd name="connsiteX8" fmla="*/ 0 w 1214203"/>
              <a:gd name="connsiteY8" fmla="*/ 202371 h 1214204"/>
              <a:gd name="connsiteX9" fmla="*/ 59274 w 1214203"/>
              <a:gd name="connsiteY9" fmla="*/ 59274 h 1214204"/>
              <a:gd name="connsiteX10" fmla="*/ 121790 w 1214203"/>
              <a:gd name="connsiteY10" fmla="*/ 121791 h 1214204"/>
              <a:gd name="connsiteX11" fmla="*/ 69281 w 1214203"/>
              <a:gd name="connsiteY11" fmla="*/ 248559 h 1214204"/>
              <a:gd name="connsiteX12" fmla="*/ 69281 w 1214203"/>
              <a:gd name="connsiteY12" fmla="*/ 965646 h 1214204"/>
              <a:gd name="connsiteX13" fmla="*/ 248556 w 1214203"/>
              <a:gd name="connsiteY13" fmla="*/ 1144922 h 1214204"/>
              <a:gd name="connsiteX14" fmla="*/ 965645 w 1214203"/>
              <a:gd name="connsiteY14" fmla="*/ 1144923 h 1214204"/>
              <a:gd name="connsiteX15" fmla="*/ 1144922 w 1214203"/>
              <a:gd name="connsiteY15" fmla="*/ 965646 h 1214204"/>
              <a:gd name="connsiteX16" fmla="*/ 1144920 w 1214203"/>
              <a:gd name="connsiteY16" fmla="*/ 248558 h 1214204"/>
              <a:gd name="connsiteX17" fmla="*/ 965644 w 1214203"/>
              <a:gd name="connsiteY17" fmla="*/ 69283 h 1214204"/>
              <a:gd name="connsiteX18" fmla="*/ 248558 w 1214203"/>
              <a:gd name="connsiteY18" fmla="*/ 69283 h 1214204"/>
              <a:gd name="connsiteX19" fmla="*/ 121790 w 1214203"/>
              <a:gd name="connsiteY19" fmla="*/ 121791 h 12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4203" h="1214204">
                <a:moveTo>
                  <a:pt x="59274" y="59274"/>
                </a:moveTo>
                <a:cubicBezTo>
                  <a:pt x="95895" y="22652"/>
                  <a:pt x="146488" y="1"/>
                  <a:pt x="202371" y="0"/>
                </a:cubicBezTo>
                <a:lnTo>
                  <a:pt x="1011832" y="1"/>
                </a:lnTo>
                <a:cubicBezTo>
                  <a:pt x="1123598" y="0"/>
                  <a:pt x="1214203" y="90605"/>
                  <a:pt x="1214203" y="202372"/>
                </a:cubicBezTo>
                <a:lnTo>
                  <a:pt x="1214203" y="1011833"/>
                </a:lnTo>
                <a:cubicBezTo>
                  <a:pt x="1214202" y="1123599"/>
                  <a:pt x="1123597" y="1214204"/>
                  <a:pt x="1011832" y="1214204"/>
                </a:cubicBezTo>
                <a:lnTo>
                  <a:pt x="202371" y="1214204"/>
                </a:lnTo>
                <a:cubicBezTo>
                  <a:pt x="90605" y="1214204"/>
                  <a:pt x="0" y="1123599"/>
                  <a:pt x="0" y="1011833"/>
                </a:cubicBezTo>
                <a:lnTo>
                  <a:pt x="0" y="202371"/>
                </a:lnTo>
                <a:cubicBezTo>
                  <a:pt x="0" y="146489"/>
                  <a:pt x="22651" y="95896"/>
                  <a:pt x="59274" y="59274"/>
                </a:cubicBezTo>
                <a:close/>
                <a:moveTo>
                  <a:pt x="121790" y="121791"/>
                </a:moveTo>
                <a:cubicBezTo>
                  <a:pt x="89348" y="154234"/>
                  <a:pt x="69281" y="199054"/>
                  <a:pt x="69281" y="248559"/>
                </a:cubicBezTo>
                <a:lnTo>
                  <a:pt x="69281" y="965646"/>
                </a:lnTo>
                <a:cubicBezTo>
                  <a:pt x="69280" y="1064656"/>
                  <a:pt x="149545" y="1144923"/>
                  <a:pt x="248556" y="1144922"/>
                </a:cubicBezTo>
                <a:lnTo>
                  <a:pt x="965645" y="1144923"/>
                </a:lnTo>
                <a:cubicBezTo>
                  <a:pt x="1064656" y="1144922"/>
                  <a:pt x="1144920" y="1064657"/>
                  <a:pt x="1144922" y="965646"/>
                </a:cubicBezTo>
                <a:lnTo>
                  <a:pt x="1144920" y="248558"/>
                </a:lnTo>
                <a:cubicBezTo>
                  <a:pt x="1144920" y="149548"/>
                  <a:pt x="1064655" y="69283"/>
                  <a:pt x="965644" y="69283"/>
                </a:cubicBezTo>
                <a:lnTo>
                  <a:pt x="248558" y="69283"/>
                </a:lnTo>
                <a:cubicBezTo>
                  <a:pt x="199052" y="69283"/>
                  <a:pt x="154232" y="89347"/>
                  <a:pt x="121790" y="1217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/>
          </a:p>
        </p:txBody>
      </p:sp>
      <p:sp>
        <p:nvSpPr>
          <p:cNvPr id="28" name="Freeform 23">
            <a:extLst>
              <a:ext uri="{FF2B5EF4-FFF2-40B4-BE49-F238E27FC236}">
                <a16:creationId xmlns:a16="http://schemas.microsoft.com/office/drawing/2014/main" id="{D0265BC2-795C-1DC7-A118-6E1C82E4AA30}"/>
              </a:ext>
            </a:extLst>
          </p:cNvPr>
          <p:cNvSpPr/>
          <p:nvPr/>
        </p:nvSpPr>
        <p:spPr>
          <a:xfrm rot="8100000">
            <a:off x="6225621" y="4985548"/>
            <a:ext cx="827103" cy="827104"/>
          </a:xfrm>
          <a:custGeom>
            <a:avLst/>
            <a:gdLst>
              <a:gd name="connsiteX0" fmla="*/ 42938 w 879584"/>
              <a:gd name="connsiteY0" fmla="*/ 42939 h 879585"/>
              <a:gd name="connsiteX1" fmla="*/ 146601 w 879584"/>
              <a:gd name="connsiteY1" fmla="*/ 1 h 879585"/>
              <a:gd name="connsiteX2" fmla="*/ 732983 w 879584"/>
              <a:gd name="connsiteY2" fmla="*/ 0 h 879585"/>
              <a:gd name="connsiteX3" fmla="*/ 879584 w 879584"/>
              <a:gd name="connsiteY3" fmla="*/ 146601 h 879585"/>
              <a:gd name="connsiteX4" fmla="*/ 879584 w 879584"/>
              <a:gd name="connsiteY4" fmla="*/ 732984 h 879585"/>
              <a:gd name="connsiteX5" fmla="*/ 732983 w 879584"/>
              <a:gd name="connsiteY5" fmla="*/ 879585 h 879585"/>
              <a:gd name="connsiteX6" fmla="*/ 146601 w 879584"/>
              <a:gd name="connsiteY6" fmla="*/ 879584 h 879585"/>
              <a:gd name="connsiteX7" fmla="*/ 0 w 879584"/>
              <a:gd name="connsiteY7" fmla="*/ 732983 h 879585"/>
              <a:gd name="connsiteX8" fmla="*/ 0 w 879584"/>
              <a:gd name="connsiteY8" fmla="*/ 146602 h 879585"/>
              <a:gd name="connsiteX9" fmla="*/ 42938 w 879584"/>
              <a:gd name="connsiteY9" fmla="*/ 42939 h 879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9584" h="879585">
                <a:moveTo>
                  <a:pt x="42938" y="42939"/>
                </a:moveTo>
                <a:cubicBezTo>
                  <a:pt x="69468" y="16410"/>
                  <a:pt x="106119" y="1"/>
                  <a:pt x="146601" y="1"/>
                </a:cubicBezTo>
                <a:lnTo>
                  <a:pt x="732983" y="0"/>
                </a:lnTo>
                <a:cubicBezTo>
                  <a:pt x="813950" y="1"/>
                  <a:pt x="879584" y="65636"/>
                  <a:pt x="879584" y="146601"/>
                </a:cubicBezTo>
                <a:lnTo>
                  <a:pt x="879584" y="732984"/>
                </a:lnTo>
                <a:cubicBezTo>
                  <a:pt x="879584" y="813950"/>
                  <a:pt x="813949" y="879585"/>
                  <a:pt x="732983" y="879585"/>
                </a:cubicBezTo>
                <a:lnTo>
                  <a:pt x="146601" y="879584"/>
                </a:lnTo>
                <a:cubicBezTo>
                  <a:pt x="65635" y="879583"/>
                  <a:pt x="1" y="813950"/>
                  <a:pt x="0" y="732983"/>
                </a:cubicBezTo>
                <a:lnTo>
                  <a:pt x="0" y="146602"/>
                </a:lnTo>
                <a:cubicBezTo>
                  <a:pt x="0" y="106119"/>
                  <a:pt x="16408" y="69469"/>
                  <a:pt x="42938" y="4293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52451A0-E748-3C87-5112-4AB697B3FB65}"/>
              </a:ext>
            </a:extLst>
          </p:cNvPr>
          <p:cNvCxnSpPr>
            <a:cxnSpLocks/>
          </p:cNvCxnSpPr>
          <p:nvPr/>
        </p:nvCxnSpPr>
        <p:spPr>
          <a:xfrm flipH="1">
            <a:off x="6669491" y="6121483"/>
            <a:ext cx="5532034" cy="305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766136E-B1FD-0480-40DE-E630910C3A03}"/>
              </a:ext>
            </a:extLst>
          </p:cNvPr>
          <p:cNvSpPr txBox="1">
            <a:spLocks/>
          </p:cNvSpPr>
          <p:nvPr/>
        </p:nvSpPr>
        <p:spPr>
          <a:xfrm>
            <a:off x="7452593" y="5217540"/>
            <a:ext cx="1513212" cy="363120"/>
          </a:xfrm>
          <a:prstGeom prst="rect">
            <a:avLst/>
          </a:prstGeom>
          <a:noFill/>
        </p:spPr>
        <p:txBody>
          <a:bodyPr vert="horz" lIns="54848" tIns="27424" rIns="54848" bIns="27424" rtlCol="0">
            <a:noAutofit/>
          </a:bodyPr>
          <a:lstStyle/>
          <a:p>
            <a:pPr>
              <a:buSzPct val="100000"/>
            </a:pPr>
            <a:r>
              <a:rPr lang="en-IN" b="1" dirty="0">
                <a:solidFill>
                  <a:schemeClr val="accent5"/>
                </a:solidFill>
              </a:rPr>
              <a:t>Tit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1F74FD-E52F-385C-EE8A-306C932D8472}"/>
              </a:ext>
            </a:extLst>
          </p:cNvPr>
          <p:cNvSpPr txBox="1">
            <a:spLocks/>
          </p:cNvSpPr>
          <p:nvPr/>
        </p:nvSpPr>
        <p:spPr>
          <a:xfrm>
            <a:off x="9275697" y="5209826"/>
            <a:ext cx="2421783" cy="332383"/>
          </a:xfrm>
          <a:prstGeom prst="rect">
            <a:avLst/>
          </a:prstGeom>
          <a:noFill/>
        </p:spPr>
        <p:txBody>
          <a:bodyPr vert="horz" lIns="54848" tIns="27424" rIns="54848" bIns="27424" rtlCol="0">
            <a:spAutoFit/>
          </a:bodyPr>
          <a:lstStyle/>
          <a:p>
            <a:pPr>
              <a:buSzPct val="100000"/>
            </a:pPr>
            <a:r>
              <a:rPr lang="en-US" dirty="0"/>
              <a:t>Insert 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2E5322-D537-EF8E-1D5D-882939786B02}"/>
              </a:ext>
            </a:extLst>
          </p:cNvPr>
          <p:cNvSpPr txBox="1">
            <a:spLocks/>
          </p:cNvSpPr>
          <p:nvPr/>
        </p:nvSpPr>
        <p:spPr>
          <a:xfrm>
            <a:off x="5374895" y="1798283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7E3485-F250-8F1D-BA59-C7E858C27FCE}"/>
              </a:ext>
            </a:extLst>
          </p:cNvPr>
          <p:cNvSpPr txBox="1">
            <a:spLocks/>
          </p:cNvSpPr>
          <p:nvPr/>
        </p:nvSpPr>
        <p:spPr>
          <a:xfrm>
            <a:off x="6461239" y="2924646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CD1DD3-A8A5-D5D2-228A-904F251D045B}"/>
              </a:ext>
            </a:extLst>
          </p:cNvPr>
          <p:cNvSpPr txBox="1">
            <a:spLocks/>
          </p:cNvSpPr>
          <p:nvPr/>
        </p:nvSpPr>
        <p:spPr>
          <a:xfrm>
            <a:off x="5374895" y="4080375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A76043-D44D-92C5-9180-FEC2C111FC5D}"/>
              </a:ext>
            </a:extLst>
          </p:cNvPr>
          <p:cNvSpPr txBox="1">
            <a:spLocks/>
          </p:cNvSpPr>
          <p:nvPr/>
        </p:nvSpPr>
        <p:spPr>
          <a:xfrm>
            <a:off x="6461239" y="5206740"/>
            <a:ext cx="285335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SzPct val="100000"/>
            </a:pPr>
            <a:r>
              <a:rPr lang="en-IN" sz="2000" b="1" dirty="0">
                <a:solidFill>
                  <a:schemeClr val="bg1"/>
                </a:solidFill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607403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1</TotalTime>
  <Words>23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Next Ste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72</cp:revision>
  <dcterms:created xsi:type="dcterms:W3CDTF">2021-03-31T02:49:57Z</dcterms:created>
  <dcterms:modified xsi:type="dcterms:W3CDTF">2025-10-16T10:52:46Z</dcterms:modified>
  <cp:category/>
</cp:coreProperties>
</file>